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1" r:id="rId6"/>
    <p:sldId id="262" r:id="rId7"/>
    <p:sldId id="263" r:id="rId8"/>
    <p:sldId id="264" r:id="rId9"/>
    <p:sldId id="265" r:id="rId10"/>
    <p:sldId id="266" r:id="rId11"/>
    <p:sldId id="359" r:id="rId12"/>
    <p:sldId id="362" r:id="rId13"/>
    <p:sldId id="364" r:id="rId14"/>
    <p:sldId id="365" r:id="rId15"/>
    <p:sldId id="366" r:id="rId16"/>
    <p:sldId id="367" r:id="rId17"/>
    <p:sldId id="368" r:id="rId18"/>
    <p:sldId id="300" r:id="rId19"/>
    <p:sldId id="363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0758"/>
    <p:restoredTop sz="93662"/>
  </p:normalViewPr>
  <p:slideViewPr>
    <p:cSldViewPr snapToGrid="0">
      <p:cViewPr varScale="1">
        <p:scale>
          <a:sx n="66" d="100"/>
          <a:sy n="66" d="100"/>
        </p:scale>
        <p:origin x="27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 /><Relationship Id="rId13" Type="http://schemas.openxmlformats.org/officeDocument/2006/relationships/slide" Target="slides/slide12.xml" /><Relationship Id="rId18" Type="http://schemas.openxmlformats.org/officeDocument/2006/relationships/slide" Target="slides/slide17.xml" /><Relationship Id="rId3" Type="http://schemas.openxmlformats.org/officeDocument/2006/relationships/slide" Target="slides/slide2.xml" /><Relationship Id="rId21" Type="http://schemas.openxmlformats.org/officeDocument/2006/relationships/presProps" Target="presProps.xml" /><Relationship Id="rId7" Type="http://schemas.openxmlformats.org/officeDocument/2006/relationships/slide" Target="slides/slide6.xml" /><Relationship Id="rId12" Type="http://schemas.openxmlformats.org/officeDocument/2006/relationships/slide" Target="slides/slide11.xml" /><Relationship Id="rId17" Type="http://schemas.openxmlformats.org/officeDocument/2006/relationships/slide" Target="slides/slide16.xml" /><Relationship Id="rId2" Type="http://schemas.openxmlformats.org/officeDocument/2006/relationships/slide" Target="slides/slide1.xml" /><Relationship Id="rId16" Type="http://schemas.openxmlformats.org/officeDocument/2006/relationships/slide" Target="slides/slide15.xml" /><Relationship Id="rId20" Type="http://schemas.openxmlformats.org/officeDocument/2006/relationships/slide" Target="slides/slide19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slide" Target="slides/slide10.xml" /><Relationship Id="rId24" Type="http://schemas.openxmlformats.org/officeDocument/2006/relationships/tableStyles" Target="tableStyles.xml" /><Relationship Id="rId5" Type="http://schemas.openxmlformats.org/officeDocument/2006/relationships/slide" Target="slides/slide4.xml" /><Relationship Id="rId15" Type="http://schemas.openxmlformats.org/officeDocument/2006/relationships/slide" Target="slides/slide14.xml" /><Relationship Id="rId23" Type="http://schemas.openxmlformats.org/officeDocument/2006/relationships/theme" Target="theme/theme1.xml" /><Relationship Id="rId10" Type="http://schemas.openxmlformats.org/officeDocument/2006/relationships/slide" Target="slides/slide9.xml" /><Relationship Id="rId19" Type="http://schemas.openxmlformats.org/officeDocument/2006/relationships/slide" Target="slides/slide18.xml" /><Relationship Id="rId4" Type="http://schemas.openxmlformats.org/officeDocument/2006/relationships/slide" Target="slides/slide3.xml" /><Relationship Id="rId9" Type="http://schemas.openxmlformats.org/officeDocument/2006/relationships/slide" Target="slides/slide8.xml" /><Relationship Id="rId14" Type="http://schemas.openxmlformats.org/officeDocument/2006/relationships/slide" Target="slides/slide13.xml" /><Relationship Id="rId22" Type="http://schemas.openxmlformats.org/officeDocument/2006/relationships/viewProps" Target="viewProps.xml" 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 /><Relationship Id="rId1" Type="http://schemas.openxmlformats.org/officeDocument/2006/relationships/tags" Target="../tags/tag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E72F7-0EF1-516E-CCE5-13F687B9FE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2F3704-D403-5351-CF93-2383AED241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2C076C-5981-24FE-11E5-433A11D21A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0CE11E-BED9-6C04-1D92-615772058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B77297-7414-4F21-F475-7DE081FA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8613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2349A-1F64-46A6-F74E-B3FEAA9A0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6D50993-AFDA-5FAE-502C-CF1A29A24E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233651-1ED4-224C-9E00-76EF44618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DC49-5658-A051-FB24-6ABE08BA1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8861CD-1E16-15B8-2701-22B5670D8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758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D9FDEF5-5548-D61D-30E4-848B6B65A25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E7FFCB5-1F2E-BBA5-45C7-F4A9596579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85B670-7CD0-BD78-231A-AE6C1323F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F5D937-E856-20D2-491B-0D9E5E340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1E28D5-624D-B630-C6C5-031EE2B26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967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58106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Content x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1071" y="580306"/>
            <a:ext cx="11055448" cy="5544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ZA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2"/>
          </p:nvPr>
        </p:nvSpPr>
        <p:spPr>
          <a:xfrm>
            <a:off x="571500" y="1268760"/>
            <a:ext cx="5102357" cy="4536504"/>
          </a:xfrm>
          <a:prstGeom prst="rect">
            <a:avLst/>
          </a:prstGeom>
        </p:spPr>
        <p:txBody>
          <a:bodyPr/>
          <a:lstStyle>
            <a:lvl1pPr>
              <a:defRPr lang="en-US" sz="1600" b="0" dirty="0" smtClean="0">
                <a:solidFill>
                  <a:schemeClr val="tx1"/>
                </a:solidFill>
                <a:latin typeface="Century Gothic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3"/>
          </p:nvPr>
        </p:nvSpPr>
        <p:spPr>
          <a:xfrm>
            <a:off x="6536862" y="1268760"/>
            <a:ext cx="5102357" cy="4536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2AEBD1B0-92C6-C945-B363-A31C73E135EE}" type="slidenum">
              <a:rPr lang="en-ZA" altLang="en-US"/>
              <a:pPr/>
              <a:t>‹#›</a:t>
            </a:fld>
            <a:endParaRPr lang="en-ZA" altLang="en-US" dirty="0"/>
          </a:p>
        </p:txBody>
      </p:sp>
    </p:spTree>
    <p:extLst>
      <p:ext uri="{BB962C8B-B14F-4D97-AF65-F5344CB8AC3E}">
        <p14:creationId xmlns:p14="http://schemas.microsoft.com/office/powerpoint/2010/main" val="2414962435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111A4-8680-D071-6D59-964CEC7951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4F6531-0EF9-7C69-E834-4EDAB8FD39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0A331F-6D4D-12DD-28DC-207D2C952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5C8F6B-FC61-087D-202E-C21855BED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56E7D-A5A4-7847-EF3E-5878B0367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472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EE9AA2-64B1-98F6-28EA-E07DD475E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F3BE05-E440-B634-1D88-A4F271ADF5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9812AB-30D2-403F-1A07-F90844203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536C46-7A8E-3FB1-648B-FD806C2C8F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AF9DE5-D835-7145-6F0C-22B27595B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311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E0B2E-7073-D194-BC83-A610160DC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4D371-9564-2845-AEC0-64C7E84E39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6B0141-D427-67EE-AE1B-BB00C4E45C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4A266D-60E2-BAEE-4448-E6F23EFB4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D78D45-45D4-D168-B039-05C91F9AA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E450B5-AB28-BE63-C79A-57AE57539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563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AC83EC-A3BA-D994-4512-CAB005DCE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F7AFF8-8429-7A1E-5A73-97C449DA44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5DA574-682E-DD5A-1419-BB0B7A0281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76D8D5-DDCB-3D12-5B2E-DE329C5FB7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CD1C1D6-9261-B803-1788-657FC4732C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058FBD3-E821-3D2F-5A93-49F1ECB1B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28C0AC-89A6-2777-B777-42E376C68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83675F-E105-ACB2-64D9-1D5E863A27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212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414AE4-5E55-73AD-86BD-56D3AC7F0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E86C4F-BC2A-A232-D916-FD4BA4FF1A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143E74-0D9E-E78F-BFF1-6DE704210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FCECD9-0A53-8F8A-388C-D07E328FA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7372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27B581-F75F-B939-F12B-B02B8A08E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80C9DB-5FD7-33A5-DA7B-82B0A9F39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F9732-970C-5766-5DF4-61A345E05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7050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C5D67-317C-A6BA-BB30-AA23B4313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A02DC5-EA39-ED95-2442-E0A7F20CA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9F68B3-7C6B-1A7F-316C-99CB7242E0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D82218-9A2E-69C1-BE0C-BF1A44CFB8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33E910-5204-E2C7-8931-AB252B2851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5B2E2F-9C6D-A0AD-8042-776C36882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258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99BFC-191A-5530-CD5C-025EE0147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4605B4-A6E2-B41A-7DE9-0C0EB760AAA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EBBC0D-837C-64F4-9377-E8A36A50AD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C302C6-8D08-F40F-20FD-E823C98FA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082E22-D240-050E-17A2-F40C8D766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FD996B-B730-B7D2-42DC-3B797D274F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459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theme" Target="../theme/theme1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A5A5CA-AD39-7987-EE13-7465FFCF3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36499-E20E-DF77-6ABF-36C02EEB8D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0E9762-A885-F126-3679-5DF730C8F5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3BA66-E514-3B4C-AC25-A5948C1D8B37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6324A9-5684-B7F8-306C-693994BCD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5BB26B-96FE-D35C-A992-0C5EB5F608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262FC4-DE09-934C-8190-9A389A4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84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Layout" Target="../slideLayouts/slideLayout1.xml" 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 /><Relationship Id="rId1" Type="http://schemas.openxmlformats.org/officeDocument/2006/relationships/slideLayout" Target="../slideLayouts/slideLayout1.xml" 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 /><Relationship Id="rId1" Type="http://schemas.openxmlformats.org/officeDocument/2006/relationships/slideLayout" Target="../slideLayouts/slideLayout13.xml" 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 /><Relationship Id="rId1" Type="http://schemas.openxmlformats.org/officeDocument/2006/relationships/slideLayout" Target="../slideLayouts/slideLayout2.xml" 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 /><Relationship Id="rId1" Type="http://schemas.openxmlformats.org/officeDocument/2006/relationships/slideLayout" Target="../slideLayouts/slideLayout1.xml" 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 /><Relationship Id="rId1" Type="http://schemas.openxmlformats.org/officeDocument/2006/relationships/slideLayout" Target="../slideLayouts/slideLayout1.xml" 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 /><Relationship Id="rId1" Type="http://schemas.openxmlformats.org/officeDocument/2006/relationships/slideLayout" Target="../slideLayouts/slideLayout1.xml" 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 /><Relationship Id="rId1" Type="http://schemas.openxmlformats.org/officeDocument/2006/relationships/slideLayout" Target="../slideLayouts/slideLayout1.xml" 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 /><Relationship Id="rId1" Type="http://schemas.openxmlformats.org/officeDocument/2006/relationships/slideLayout" Target="../slideLayouts/slideLayout1.xml" 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 /><Relationship Id="rId1" Type="http://schemas.openxmlformats.org/officeDocument/2006/relationships/slideLayout" Target="../slideLayouts/slideLayout1.xml" 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 /><Relationship Id="rId1" Type="http://schemas.openxmlformats.org/officeDocument/2006/relationships/slideLayout" Target="../slideLayouts/slideLayout1.xml" 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 /><Relationship Id="rId1" Type="http://schemas.openxmlformats.org/officeDocument/2006/relationships/slideLayout" Target="../slideLayouts/slideLayout1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1C4DE1D-EB0C-E363-992B-ADBDA59084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0638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6A157DF-3804-7D02-F3ED-C7E5AD6900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430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13123" y="1118008"/>
            <a:ext cx="11731321" cy="414834"/>
          </a:xfrm>
        </p:spPr>
        <p:txBody>
          <a:bodyPr/>
          <a:lstStyle/>
          <a:p>
            <a:pPr algn="ctr"/>
            <a:r>
              <a:rPr lang="en-ZA" dirty="0"/>
              <a:t>PLANNING  2024  PO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188535" y="1532842"/>
          <a:ext cx="11802359" cy="52251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6366">
                  <a:extLst>
                    <a:ext uri="{9D8B030D-6E8A-4147-A177-3AD203B41FA5}">
                      <a16:colId xmlns:a16="http://schemas.microsoft.com/office/drawing/2014/main" val="3767943361"/>
                    </a:ext>
                  </a:extLst>
                </a:gridCol>
                <a:gridCol w="1708439">
                  <a:extLst>
                    <a:ext uri="{9D8B030D-6E8A-4147-A177-3AD203B41FA5}">
                      <a16:colId xmlns:a16="http://schemas.microsoft.com/office/drawing/2014/main" val="2220997755"/>
                    </a:ext>
                  </a:extLst>
                </a:gridCol>
                <a:gridCol w="1238316">
                  <a:extLst>
                    <a:ext uri="{9D8B030D-6E8A-4147-A177-3AD203B41FA5}">
                      <a16:colId xmlns:a16="http://schemas.microsoft.com/office/drawing/2014/main" val="835169726"/>
                    </a:ext>
                  </a:extLst>
                </a:gridCol>
                <a:gridCol w="1708439">
                  <a:extLst>
                    <a:ext uri="{9D8B030D-6E8A-4147-A177-3AD203B41FA5}">
                      <a16:colId xmlns:a16="http://schemas.microsoft.com/office/drawing/2014/main" val="2329937178"/>
                    </a:ext>
                  </a:extLst>
                </a:gridCol>
                <a:gridCol w="1915557">
                  <a:extLst>
                    <a:ext uri="{9D8B030D-6E8A-4147-A177-3AD203B41FA5}">
                      <a16:colId xmlns:a16="http://schemas.microsoft.com/office/drawing/2014/main" val="3375755684"/>
                    </a:ext>
                  </a:extLst>
                </a:gridCol>
                <a:gridCol w="3055242">
                  <a:extLst>
                    <a:ext uri="{9D8B030D-6E8A-4147-A177-3AD203B41FA5}">
                      <a16:colId xmlns:a16="http://schemas.microsoft.com/office/drawing/2014/main" val="3482392142"/>
                    </a:ext>
                  </a:extLst>
                </a:gridCol>
              </a:tblGrid>
              <a:tr h="259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Item 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Activities 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Responsibilitie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Target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Date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Comment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extLst>
                  <a:ext uri="{0D108BD9-81ED-4DB2-BD59-A6C34878D82A}">
                    <a16:rowId xmlns:a16="http://schemas.microsoft.com/office/drawing/2014/main" val="2382706590"/>
                  </a:ext>
                </a:extLst>
              </a:tr>
              <a:tr h="11029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Joint  SMT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Meeting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Principal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SMT Members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ZA" sz="1100" dirty="0">
                          <a:effectLst/>
                        </a:rPr>
                        <a:t>Jan 2024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Planning   - First  Joint  meeting.  Sharing  Ideas  on  Curriculum  Delivery/ Management. (POA)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ZA" sz="1100" dirty="0">
                          <a:effectLst/>
                        </a:rPr>
                        <a:t>PLCs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ZA" sz="1100" dirty="0">
                          <a:effectLst/>
                        </a:rPr>
                        <a:t>Needs Analysis,</a:t>
                      </a:r>
                      <a:r>
                        <a:rPr lang="en-ZA" sz="1100" baseline="0" dirty="0">
                          <a:effectLst/>
                        </a:rPr>
                        <a:t> </a:t>
                      </a:r>
                      <a:r>
                        <a:rPr lang="en-ZA" sz="1100" dirty="0">
                          <a:effectLst/>
                        </a:rPr>
                        <a:t>Assessment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ZA" sz="1100" dirty="0">
                          <a:effectLst/>
                        </a:rPr>
                        <a:t>Learner  Support,</a:t>
                      </a:r>
                      <a:r>
                        <a:rPr lang="en-ZA" sz="1100" baseline="0" dirty="0">
                          <a:effectLst/>
                        </a:rPr>
                        <a:t> </a:t>
                      </a:r>
                      <a:r>
                        <a:rPr lang="en-ZA" sz="1100" dirty="0">
                          <a:effectLst/>
                        </a:rPr>
                        <a:t>Learner  Awards,</a:t>
                      </a:r>
                      <a:r>
                        <a:rPr lang="en-ZA" sz="1100" baseline="0" dirty="0">
                          <a:effectLst/>
                        </a:rPr>
                        <a:t> </a:t>
                      </a:r>
                      <a:r>
                        <a:rPr lang="en-ZA" sz="1100" dirty="0">
                          <a:effectLst/>
                        </a:rPr>
                        <a:t>Grade  R  Graduation</a:t>
                      </a:r>
                      <a:r>
                        <a:rPr lang="en-ZA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en-ZA" sz="1100" baseline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CT</a:t>
                      </a:r>
                    </a:p>
                  </a:txBody>
                  <a:tcPr marL="45118" marR="45118" marT="0" marB="0"/>
                </a:tc>
                <a:extLst>
                  <a:ext uri="{0D108BD9-81ED-4DB2-BD59-A6C34878D82A}">
                    <a16:rowId xmlns:a16="http://schemas.microsoft.com/office/drawing/2014/main" val="2752047277"/>
                  </a:ext>
                </a:extLst>
              </a:tr>
              <a:tr h="14935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Joint  SGB  EXCO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Meeting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Principals / Secretary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SGB  EXCO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b</a:t>
                      </a:r>
                      <a:r>
                        <a:rPr lang="en-ZA" sz="1100" baseline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2024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Planning  (POA)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ZA" sz="1100" dirty="0">
                          <a:effectLst/>
                        </a:rPr>
                        <a:t>Fundraising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ZA" sz="1100" dirty="0">
                          <a:effectLst/>
                        </a:rPr>
                        <a:t>School  Resourcing  and  Infrastructure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ZA" sz="1100" dirty="0">
                          <a:effectLst/>
                        </a:rPr>
                        <a:t>ICT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ZA" sz="1100" dirty="0">
                          <a:effectLst/>
                        </a:rPr>
                        <a:t>Social  Cohesion – Sports, Learner  Awards  &amp;  Graduation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ZA" sz="1100" dirty="0">
                          <a:effectLst/>
                        </a:rPr>
                        <a:t>Breakaway  Session (Funding)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ZA" sz="1100" dirty="0">
                          <a:effectLst/>
                        </a:rPr>
                        <a:t>NPO  Registration</a:t>
                      </a:r>
                    </a:p>
                    <a:p>
                      <a:pPr marL="4572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 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extLst>
                  <a:ext uri="{0D108BD9-81ED-4DB2-BD59-A6C34878D82A}">
                    <a16:rowId xmlns:a16="http://schemas.microsoft.com/office/drawing/2014/main" val="3989122130"/>
                  </a:ext>
                </a:extLst>
              </a:tr>
              <a:tr h="3896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Joint  SGB  Broader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Meeting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Principals / Secretary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Full  SGB  Compliment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b 2024</a:t>
                      </a: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Adoption  of  POA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Information sharing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extLst>
                  <a:ext uri="{0D108BD9-81ED-4DB2-BD59-A6C34878D82A}">
                    <a16:rowId xmlns:a16="http://schemas.microsoft.com/office/drawing/2014/main" val="3128924512"/>
                  </a:ext>
                </a:extLst>
              </a:tr>
              <a:tr h="259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Administrator  Orientation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Work  Ethics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SASAM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Principal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Administrative  Assistant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rch 2024</a:t>
                      </a: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Whole  Week  reporting  at  PP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extLst>
                  <a:ext uri="{0D108BD9-81ED-4DB2-BD59-A6C34878D82A}">
                    <a16:rowId xmlns:a16="http://schemas.microsoft.com/office/drawing/2014/main" val="2189559743"/>
                  </a:ext>
                </a:extLst>
              </a:tr>
              <a:tr h="259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Service  Excellence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Workshop  for  Administrator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Principal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AA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ril 2024</a:t>
                      </a: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Effective  and  Efficient Service  delivery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extLst>
                  <a:ext uri="{0D108BD9-81ED-4DB2-BD59-A6C34878D82A}">
                    <a16:rowId xmlns:a16="http://schemas.microsoft.com/office/drawing/2014/main" val="2283828939"/>
                  </a:ext>
                </a:extLst>
              </a:tr>
              <a:tr h="3896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Service  Excellence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Workshop  for  General    Worker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Principal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GAs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y 2024</a:t>
                      </a: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Effective  and  Efficient Service  delivery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extLst>
                  <a:ext uri="{0D108BD9-81ED-4DB2-BD59-A6C34878D82A}">
                    <a16:rowId xmlns:a16="http://schemas.microsoft.com/office/drawing/2014/main" val="385949205"/>
                  </a:ext>
                </a:extLst>
              </a:tr>
              <a:tr h="259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Netball  &amp; Soccer  Game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Sport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Sports  Convenor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Learner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ril 2024</a:t>
                      </a: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Combined  Team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extLst>
                  <a:ext uri="{0D108BD9-81ED-4DB2-BD59-A6C34878D82A}">
                    <a16:rowId xmlns:a16="http://schemas.microsoft.com/office/drawing/2014/main" val="2474748647"/>
                  </a:ext>
                </a:extLst>
              </a:tr>
              <a:tr h="2553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Leave  Workshop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AAs  &amp;  GAs  Workshop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Principal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AAs  &amp;  GAs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b 2024</a:t>
                      </a: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Responsible  use  of  leave  by  employees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extLst>
                  <a:ext uri="{0D108BD9-81ED-4DB2-BD59-A6C34878D82A}">
                    <a16:rowId xmlns:a16="http://schemas.microsoft.com/office/drawing/2014/main" val="3906736573"/>
                  </a:ext>
                </a:extLst>
              </a:tr>
              <a:tr h="259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Leadership Skills  Development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Learner  Workshop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Principals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Learners - Councillor</a:t>
                      </a:r>
                      <a:endParaRPr lang="en-Z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ce a Month</a:t>
                      </a:r>
                    </a:p>
                  </a:txBody>
                  <a:tcPr marL="45118" marR="4511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Responsible  Learners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118" marR="45118" marT="0" marB="0"/>
                </a:tc>
                <a:extLst>
                  <a:ext uri="{0D108BD9-81ED-4DB2-BD59-A6C34878D82A}">
                    <a16:rowId xmlns:a16="http://schemas.microsoft.com/office/drawing/2014/main" val="27171403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36230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ZA" sz="8000" b="1" dirty="0"/>
              <a:t>SUB - COMMITTE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1/10/26</a:t>
            </a: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NCESS  MEADOW  25  NOVEMBER   2023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29F7F-6B57-4605-9193-5587A6B187DD}" type="slidenum">
              <a:rPr lang="en-ZA" smtClean="0"/>
              <a:t>12</a:t>
            </a:fld>
            <a:endParaRPr lang="en-Z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514A01-9515-79BF-9017-AE60DC0C4CCA}"/>
              </a:ext>
            </a:extLst>
          </p:cNvPr>
          <p:cNvSpPr txBox="1"/>
          <p:nvPr/>
        </p:nvSpPr>
        <p:spPr>
          <a:xfrm>
            <a:off x="1206230" y="2762655"/>
            <a:ext cx="1014757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800" dirty="0"/>
              <a:t>SOCIAL COHESS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800" dirty="0"/>
              <a:t>FINANCE COMMIT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800" dirty="0"/>
              <a:t>INFRAST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800" dirty="0"/>
              <a:t>MARKE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800" dirty="0"/>
              <a:t>SCHOOL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37351711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1/10/26</a:t>
            </a: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NCESS  MEADOW  25  NOVEMBER   2023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29F7F-6B57-4605-9193-5587A6B187DD}" type="slidenum">
              <a:rPr lang="en-ZA" smtClean="0"/>
              <a:t>13</a:t>
            </a:fld>
            <a:endParaRPr lang="en-Z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514A01-9515-79BF-9017-AE60DC0C4CCA}"/>
              </a:ext>
            </a:extLst>
          </p:cNvPr>
          <p:cNvSpPr txBox="1"/>
          <p:nvPr/>
        </p:nvSpPr>
        <p:spPr>
          <a:xfrm>
            <a:off x="1551563" y="1275933"/>
            <a:ext cx="1014757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800" b="1" dirty="0"/>
              <a:t>SOCIAL COHESSION COMMITTEE </a:t>
            </a:r>
          </a:p>
          <a:p>
            <a:endParaRPr lang="en-US" sz="4800" dirty="0"/>
          </a:p>
          <a:p>
            <a:r>
              <a:rPr lang="en-US" sz="4800" dirty="0"/>
              <a:t>LESEJANE</a:t>
            </a:r>
          </a:p>
          <a:p>
            <a:r>
              <a:rPr lang="en-US" sz="4800" dirty="0"/>
              <a:t>RALEKGARI</a:t>
            </a:r>
          </a:p>
          <a:p>
            <a:r>
              <a:rPr lang="en-US" sz="4800" dirty="0"/>
              <a:t>PHOLOHANI</a:t>
            </a:r>
          </a:p>
          <a:p>
            <a:r>
              <a:rPr lang="en-US" sz="4800" dirty="0"/>
              <a:t>THE CEO &amp; HER MAJESTY</a:t>
            </a:r>
          </a:p>
          <a:p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28843053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1/10/26</a:t>
            </a: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NCESS  MEADOW  25  NOVEMBER   2023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29F7F-6B57-4605-9193-5587A6B187DD}" type="slidenum">
              <a:rPr lang="en-ZA" smtClean="0"/>
              <a:t>14</a:t>
            </a:fld>
            <a:endParaRPr lang="en-Z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514A01-9515-79BF-9017-AE60DC0C4CCA}"/>
              </a:ext>
            </a:extLst>
          </p:cNvPr>
          <p:cNvSpPr txBox="1"/>
          <p:nvPr/>
        </p:nvSpPr>
        <p:spPr>
          <a:xfrm>
            <a:off x="1551563" y="1275933"/>
            <a:ext cx="1014757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800" b="1" dirty="0"/>
              <a:t>FINANCE COMMITTEE </a:t>
            </a:r>
          </a:p>
          <a:p>
            <a:endParaRPr lang="en-US" sz="4800" dirty="0"/>
          </a:p>
          <a:p>
            <a:r>
              <a:rPr lang="en-US" sz="4800" dirty="0"/>
              <a:t>JETHRO TSHABALALA</a:t>
            </a:r>
          </a:p>
          <a:p>
            <a:r>
              <a:rPr lang="en-US" sz="4800" dirty="0"/>
              <a:t>THE CEO &amp; HER MAJESTY</a:t>
            </a:r>
          </a:p>
          <a:p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36731273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1/10/26</a:t>
            </a: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NCESS  MEADOW  25  NOVEMBER   2023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29F7F-6B57-4605-9193-5587A6B187DD}" type="slidenum">
              <a:rPr lang="en-ZA" smtClean="0"/>
              <a:t>15</a:t>
            </a:fld>
            <a:endParaRPr lang="en-Z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514A01-9515-79BF-9017-AE60DC0C4CCA}"/>
              </a:ext>
            </a:extLst>
          </p:cNvPr>
          <p:cNvSpPr txBox="1"/>
          <p:nvPr/>
        </p:nvSpPr>
        <p:spPr>
          <a:xfrm>
            <a:off x="1551563" y="1275933"/>
            <a:ext cx="1014757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800" b="1" dirty="0"/>
              <a:t>MARKETING COMMITTEE</a:t>
            </a:r>
          </a:p>
          <a:p>
            <a:endParaRPr lang="en-US" sz="4800" dirty="0"/>
          </a:p>
          <a:p>
            <a:r>
              <a:rPr lang="en-US" sz="4800" dirty="0"/>
              <a:t>MODIKA</a:t>
            </a:r>
          </a:p>
          <a:p>
            <a:r>
              <a:rPr lang="en-US" sz="4800" dirty="0"/>
              <a:t>MASEGO</a:t>
            </a:r>
          </a:p>
          <a:p>
            <a:r>
              <a:rPr lang="en-US" sz="4800" dirty="0"/>
              <a:t>MUSA</a:t>
            </a:r>
          </a:p>
          <a:p>
            <a:r>
              <a:rPr lang="en-US" sz="4800" dirty="0"/>
              <a:t>THE CEO &amp; HER MAJESTY</a:t>
            </a:r>
          </a:p>
          <a:p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33849553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1/10/26</a:t>
            </a: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NCESS  MEADOW  25  NOVEMBER   2023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29F7F-6B57-4605-9193-5587A6B187DD}" type="slidenum">
              <a:rPr lang="en-ZA" smtClean="0"/>
              <a:t>16</a:t>
            </a:fld>
            <a:endParaRPr lang="en-Z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514A01-9515-79BF-9017-AE60DC0C4CCA}"/>
              </a:ext>
            </a:extLst>
          </p:cNvPr>
          <p:cNvSpPr txBox="1"/>
          <p:nvPr/>
        </p:nvSpPr>
        <p:spPr>
          <a:xfrm>
            <a:off x="1551563" y="1275933"/>
            <a:ext cx="1014757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800" b="1" dirty="0"/>
              <a:t>INFRASTRUCTURE COMMITTEE</a:t>
            </a:r>
          </a:p>
          <a:p>
            <a:endParaRPr lang="en-US" sz="4800" dirty="0"/>
          </a:p>
          <a:p>
            <a:r>
              <a:rPr lang="en-US" sz="4800" dirty="0"/>
              <a:t>TOM KUBHEKA</a:t>
            </a:r>
          </a:p>
          <a:p>
            <a:r>
              <a:rPr lang="en-US" sz="4800" dirty="0"/>
              <a:t>AYANDA</a:t>
            </a:r>
          </a:p>
          <a:p>
            <a:r>
              <a:rPr lang="en-US" sz="4800" dirty="0"/>
              <a:t>MAX SHAI</a:t>
            </a:r>
          </a:p>
          <a:p>
            <a:r>
              <a:rPr lang="en-US" sz="4800" dirty="0"/>
              <a:t>THE CEO &amp; HER MAJESTY</a:t>
            </a:r>
          </a:p>
          <a:p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34030670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1/10/26</a:t>
            </a: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NCESS  MEADOW  25  NOVEMBER   2023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29F7F-6B57-4605-9193-5587A6B187DD}" type="slidenum">
              <a:rPr lang="en-ZA" smtClean="0"/>
              <a:t>17</a:t>
            </a:fld>
            <a:endParaRPr lang="en-Z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514A01-9515-79BF-9017-AE60DC0C4CCA}"/>
              </a:ext>
            </a:extLst>
          </p:cNvPr>
          <p:cNvSpPr txBox="1"/>
          <p:nvPr/>
        </p:nvSpPr>
        <p:spPr>
          <a:xfrm>
            <a:off x="1551563" y="1275933"/>
            <a:ext cx="1014757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800" b="1" dirty="0"/>
              <a:t>SCHOOL POLICY</a:t>
            </a:r>
          </a:p>
          <a:p>
            <a:endParaRPr lang="en-US" sz="4800" dirty="0"/>
          </a:p>
          <a:p>
            <a:r>
              <a:rPr lang="en-US" sz="4800" dirty="0"/>
              <a:t>LESEGO</a:t>
            </a:r>
          </a:p>
          <a:p>
            <a:r>
              <a:rPr lang="en-US" sz="4800" dirty="0"/>
              <a:t>TSOENENG</a:t>
            </a:r>
          </a:p>
          <a:p>
            <a:r>
              <a:rPr lang="en-US" sz="4800" dirty="0"/>
              <a:t>CHANEL</a:t>
            </a:r>
          </a:p>
          <a:p>
            <a:r>
              <a:rPr lang="en-US" sz="4800" dirty="0"/>
              <a:t>THE CEO &amp; HER MAJESTY</a:t>
            </a:r>
          </a:p>
          <a:p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8603997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68275" y="-65487"/>
            <a:ext cx="11055448" cy="998181"/>
          </a:xfrm>
        </p:spPr>
        <p:txBody>
          <a:bodyPr>
            <a:noAutofit/>
          </a:bodyPr>
          <a:lstStyle/>
          <a:p>
            <a:pPr algn="ctr"/>
            <a:r>
              <a:rPr lang="en-ZA" sz="6600" b="1" dirty="0"/>
              <a:t>QUOTE</a:t>
            </a:r>
            <a:endParaRPr lang="en-US" sz="6600" b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4399A2-1F53-844E-812A-AB445D0C8B99}"/>
              </a:ext>
            </a:extLst>
          </p:cNvPr>
          <p:cNvSpPr/>
          <p:nvPr/>
        </p:nvSpPr>
        <p:spPr>
          <a:xfrm>
            <a:off x="1964695" y="1305054"/>
            <a:ext cx="82791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ZA" sz="2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8E71768-B24F-FC4A-9630-27753B5B66D3}"/>
              </a:ext>
            </a:extLst>
          </p:cNvPr>
          <p:cNvSpPr/>
          <p:nvPr/>
        </p:nvSpPr>
        <p:spPr>
          <a:xfrm>
            <a:off x="1929571" y="1118874"/>
            <a:ext cx="819887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ZA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ZA" sz="20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4DA047A-42C4-7E44-ACFC-D5A28AD167D8}"/>
              </a:ext>
            </a:extLst>
          </p:cNvPr>
          <p:cNvSpPr/>
          <p:nvPr/>
        </p:nvSpPr>
        <p:spPr>
          <a:xfrm>
            <a:off x="1964695" y="1305054"/>
            <a:ext cx="827919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ZA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ZA" sz="2000" dirty="0"/>
          </a:p>
        </p:txBody>
      </p:sp>
      <p:pic>
        <p:nvPicPr>
          <p:cNvPr id="11" name="Picture 4" descr="Image result for MOTIVATIONAL PINS FROM MARTIN LUTHER">
            <a:extLst>
              <a:ext uri="{FF2B5EF4-FFF2-40B4-BE49-F238E27FC236}">
                <a16:creationId xmlns:a16="http://schemas.microsoft.com/office/drawing/2014/main" id="{BD497F37-7BF9-6A47-8AD9-6714A21DC5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37931"/>
            <a:ext cx="12191999" cy="6020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AEBD1B0-92C6-C945-B363-A31C73E135EE}" type="slidenum">
              <a:rPr lang="en-ZA" altLang="en-US" smtClean="0"/>
              <a:pPr/>
              <a:t>18</a:t>
            </a:fld>
            <a:endParaRPr lang="en-ZA" altLang="en-US" dirty="0"/>
          </a:p>
        </p:txBody>
      </p:sp>
    </p:spTree>
    <p:extLst>
      <p:ext uri="{BB962C8B-B14F-4D97-AF65-F5344CB8AC3E}">
        <p14:creationId xmlns:p14="http://schemas.microsoft.com/office/powerpoint/2010/main" val="550481149"/>
      </p:ext>
    </p:extLst>
  </p:cSld>
  <p:clrMapOvr>
    <a:masterClrMapping/>
  </p:clrMapOvr>
  <p:transition spd="slow">
    <p:wheel spokes="1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429731"/>
            <a:ext cx="11353800" cy="1457638"/>
          </a:xfrm>
        </p:spPr>
        <p:txBody>
          <a:bodyPr>
            <a:normAutofit/>
          </a:bodyPr>
          <a:lstStyle/>
          <a:p>
            <a:pPr algn="ctr"/>
            <a:r>
              <a:rPr lang="en-ZA" b="1" dirty="0">
                <a:solidFill>
                  <a:prstClr val="black"/>
                </a:solidFill>
                <a:latin typeface="Calibri"/>
              </a:rPr>
              <a:t>WE  ARE  PRINCESS  MEAD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25485" y="1825625"/>
            <a:ext cx="10011266" cy="4351338"/>
          </a:xfrm>
        </p:spPr>
        <p:txBody>
          <a:bodyPr/>
          <a:lstStyle/>
          <a:p>
            <a:pPr marL="0" indent="0">
              <a:buNone/>
            </a:pPr>
            <a:endParaRPr lang="en-ZA" dirty="0"/>
          </a:p>
          <a:p>
            <a:pPr marL="0" indent="0">
              <a:buNone/>
            </a:pPr>
            <a:endParaRPr lang="en-ZA" dirty="0"/>
          </a:p>
          <a:p>
            <a:pPr marL="0" indent="0">
              <a:buNone/>
            </a:pPr>
            <a:endParaRPr lang="en-ZA" dirty="0"/>
          </a:p>
          <a:p>
            <a:pPr marL="0" indent="0">
              <a:buNone/>
            </a:pPr>
            <a:endParaRPr lang="en-ZA" dirty="0"/>
          </a:p>
          <a:p>
            <a:pPr marL="0" indent="0">
              <a:buNone/>
            </a:pPr>
            <a:endParaRPr lang="en-ZA" dirty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1/10/26</a:t>
            </a: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NCESS  MEADOW  25  NOVEMBER   2023</a:t>
            </a: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29F7F-6B57-4605-9193-5587A6B187DD}" type="slidenum">
              <a:rPr lang="en-ZA" smtClean="0"/>
              <a:t>19</a:t>
            </a:fld>
            <a:endParaRPr lang="en-ZA"/>
          </a:p>
        </p:txBody>
      </p:sp>
      <p:pic>
        <p:nvPicPr>
          <p:cNvPr id="11" name="Picture 10" descr="https://cdn11.bigcommerce.com/s-8smrzb0w7f/images/stencil/original/products/63391/63187/511eayVeBML._SL1200___59905.1602915760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81037"/>
            <a:ext cx="12192000" cy="61769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234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900">
        <p14:glitter pattern="hexagon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8E1D77F-098F-CB74-0C4F-7728659C81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1480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B5839E-4A64-1EFF-CA79-26EA6D1C39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049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1B2C3EC-EF17-C2A9-08EB-1599790E79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1"/>
            <a:ext cx="12192001" cy="68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767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FDFC61-1DE6-135F-9941-38CA96D3F0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8400" y="514350"/>
            <a:ext cx="7772400" cy="582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3748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A264F96-058D-4483-BB6A-400651499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1793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C9955CB-0E7F-84EA-FDDD-F29560ED19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2385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E0D0144-07E7-A492-F613-670442C7C3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5686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A8E97B8-268A-F005-844E-8BBF866EBD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5284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Z9NaIfvEKEF3_S41f9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311</Words>
  <Application>Microsoft Office PowerPoint</Application>
  <PresentationFormat>Widescreen</PresentationFormat>
  <Paragraphs>135</Paragraphs>
  <Slides>1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LANNING  2024  POA</vt:lpstr>
      <vt:lpstr>SUB - COMMITTE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OTE</vt:lpstr>
      <vt:lpstr>WE  ARE  PRINCESS  MEADO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o Mashimbyi</dc:creator>
  <cp:lastModifiedBy>princessp464@gmail.com</cp:lastModifiedBy>
  <cp:revision>5</cp:revision>
  <dcterms:created xsi:type="dcterms:W3CDTF">2023-11-24T13:48:35Z</dcterms:created>
  <dcterms:modified xsi:type="dcterms:W3CDTF">2024-01-30T17:41:31Z</dcterms:modified>
</cp:coreProperties>
</file>